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microsoft.com/office/2020/02/relationships/classificationlabels" Target="docMetadata/LabelInfo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4" r:id="rId1"/>
  </p:sldMasterIdLst>
  <p:notesMasterIdLst>
    <p:notesMasterId r:id="rId7"/>
  </p:notesMasterIdLst>
  <p:sldIdLst>
    <p:sldId id="267" r:id="rId2"/>
    <p:sldId id="260" r:id="rId3"/>
    <p:sldId id="261" r:id="rId4"/>
    <p:sldId id="262" r:id="rId5"/>
    <p:sldId id="268" r:id="rId6"/>
  </p:sldIdLst>
  <p:sldSz cx="18288000" cy="10287000"/>
  <p:notesSz cx="6858000" cy="9144000"/>
  <p:embeddedFontLst>
    <p:embeddedFont>
      <p:font typeface="Biome Light" panose="020B0303030204020804" pitchFamily="34" charset="0"/>
      <p:regular r:id="rId8"/>
      <p:italic r:id="rId9"/>
    </p:embeddedFont>
    <p:embeddedFont>
      <p:font typeface="Calibri" panose="020F0502020204030204" pitchFamily="34" charset="0"/>
      <p:regular r:id="rId10"/>
      <p:bold r:id="rId11"/>
      <p:italic r:id="rId12"/>
      <p:boldItalic r:id="rId13"/>
    </p:embeddedFont>
    <p:embeddedFont>
      <p:font typeface="Roboto Light" panose="02000000000000000000" pitchFamily="2" charset="0"/>
      <p:regular r:id="rId14"/>
      <p:bold r:id="rId15"/>
      <p:italic r:id="rId16"/>
      <p:boldItalic r:id="rId17"/>
    </p:embeddedFont>
  </p:embeddedFontLst>
  <p:custDataLst>
    <p:tags r:id="rId18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648">
          <p15:clr>
            <a:srgbClr val="000000"/>
          </p15:clr>
        </p15:guide>
        <p15:guide id="2" pos="586">
          <p15:clr>
            <a:srgbClr val="000000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500E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181"/>
    <p:restoredTop sz="94684"/>
  </p:normalViewPr>
  <p:slideViewPr>
    <p:cSldViewPr snapToGrid="0">
      <p:cViewPr varScale="1">
        <p:scale>
          <a:sx n="38" d="100"/>
          <a:sy n="38" d="100"/>
        </p:scale>
        <p:origin x="104" y="104"/>
      </p:cViewPr>
      <p:guideLst>
        <p:guide orient="horz" pos="648"/>
        <p:guide pos="58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5.fntdata"/><Relationship Id="rId17" Type="http://schemas.openxmlformats.org/officeDocument/2006/relationships/font" Target="fonts/font10.fntdata"/><Relationship Id="rId2" Type="http://schemas.openxmlformats.org/officeDocument/2006/relationships/slide" Target="slides/slide1.xml"/><Relationship Id="rId16" Type="http://schemas.openxmlformats.org/officeDocument/2006/relationships/font" Target="fonts/font9.fntdata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4.fntdata"/><Relationship Id="rId5" Type="http://schemas.openxmlformats.org/officeDocument/2006/relationships/slide" Target="slides/slide4.xml"/><Relationship Id="rId15" Type="http://schemas.openxmlformats.org/officeDocument/2006/relationships/font" Target="fonts/font8.fntdata"/><Relationship Id="rId23" Type="http://schemas.microsoft.com/office/2016/11/relationships/changesInfo" Target="changesInfos/changesInfo1.xml"/><Relationship Id="rId10" Type="http://schemas.openxmlformats.org/officeDocument/2006/relationships/font" Target="fonts/font3.fntdata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font" Target="fonts/font2.fntdata"/><Relationship Id="rId14" Type="http://schemas.openxmlformats.org/officeDocument/2006/relationships/font" Target="fonts/font7.fntdata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fonso de Paula Pinheiro Rocha" userId="241badb3-30a1-41f9-864a-3633b0c25eaa" providerId="ADAL" clId="{F140625C-97A2-41A1-B282-16763FE386D0}"/>
    <pc:docChg chg="modSld">
      <pc:chgData name="Afonso de Paula Pinheiro Rocha" userId="241badb3-30a1-41f9-864a-3633b0c25eaa" providerId="ADAL" clId="{F140625C-97A2-41A1-B282-16763FE386D0}" dt="2023-10-09T01:43:33.818" v="0" actId="20577"/>
      <pc:docMkLst>
        <pc:docMk/>
      </pc:docMkLst>
      <pc:sldChg chg="modSp mod">
        <pc:chgData name="Afonso de Paula Pinheiro Rocha" userId="241badb3-30a1-41f9-864a-3633b0c25eaa" providerId="ADAL" clId="{F140625C-97A2-41A1-B282-16763FE386D0}" dt="2023-10-09T01:43:33.818" v="0" actId="20577"/>
        <pc:sldMkLst>
          <pc:docMk/>
          <pc:sldMk cId="0" sldId="268"/>
        </pc:sldMkLst>
        <pc:spChg chg="mod">
          <ac:chgData name="Afonso de Paula Pinheiro Rocha" userId="241badb3-30a1-41f9-864a-3633b0c25eaa" providerId="ADAL" clId="{F140625C-97A2-41A1-B282-16763FE386D0}" dt="2023-10-09T01:43:33.818" v="0" actId="20577"/>
          <ac:spMkLst>
            <pc:docMk/>
            <pc:sldMk cId="0" sldId="268"/>
            <ac:spMk id="2" creationId="{00000000-0000-0000-0000-000000000000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1st_Slide_FULL_LAYOUT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1828800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Google Shape;12;p2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0" y="1027450"/>
            <a:ext cx="13969941" cy="18087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Smart Slides</a:t>
            </a:r>
            <a:endParaRPr dirty="0"/>
          </a:p>
        </p:txBody>
      </p:sp>
      <p:sp>
        <p:nvSpPr>
          <p:cNvPr id="6" name="Google Shape;13;p2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5165912"/>
            <a:ext cx="11310225" cy="4435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Make Slides in a flash</a:t>
            </a:r>
            <a:endParaRPr dirty="0"/>
          </a:p>
        </p:txBody>
      </p:sp>
      <p:sp>
        <p:nvSpPr>
          <p:cNvPr id="2" name="Google Shape;18;p3">
            <a:extLst>
              <a:ext uri="{FF2B5EF4-FFF2-40B4-BE49-F238E27FC236}">
                <a16:creationId xmlns:a16="http://schemas.microsoft.com/office/drawing/2014/main" id="{A773960F-5BCD-9B71-8C77-4E720F5358F1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8700"/>
            <a:ext cx="1824125" cy="167933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6391019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-30955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9879496" y="3708450"/>
            <a:ext cx="7489429" cy="58927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9879496" y="2263774"/>
            <a:ext cx="7489429" cy="144467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16002000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3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FB52679D-00ED-7CE2-017B-041885E86B3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314670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Z_FINAL_SLIDE" userDrawn="1">
  <p:cSld name="END_SLIDE">
    <p:bg>
      <p:bgPr>
        <a:solidFill>
          <a:schemeClr val="lt1"/>
        </a:solidFill>
        <a:effectLst/>
      </p:bgPr>
    </p:bg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A3FA9C0-522C-1ABD-D14A-7299E05376D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4423718"/>
            <a:ext cx="18288000" cy="5863281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US" dirty="0"/>
              <a:t>10</a:t>
            </a: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CEABAFD-74D6-51C2-98C1-CCA5795CCD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0678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EABAFD-74D6-51C2-98C1-CCA5795CCD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Google Shape;41;p7"/>
          <p:cNvSpPr txBox="1">
            <a:spLocks noGrp="1"/>
          </p:cNvSpPr>
          <p:nvPr>
            <p:ph type="title" hasCustomPrompt="1"/>
          </p:nvPr>
        </p:nvSpPr>
        <p:spPr>
          <a:xfrm>
            <a:off x="929400" y="1027449"/>
            <a:ext cx="13997562" cy="271046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9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42" name="Google Shape;42;p7"/>
          <p:cNvSpPr txBox="1">
            <a:spLocks noGrp="1"/>
          </p:cNvSpPr>
          <p:nvPr>
            <p:ph type="body" idx="1" hasCustomPrompt="1"/>
          </p:nvPr>
        </p:nvSpPr>
        <p:spPr>
          <a:xfrm>
            <a:off x="929400" y="5143500"/>
            <a:ext cx="14635650" cy="445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defRPr sz="48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43" name="Google Shape;43;p7"/>
          <p:cNvSpPr>
            <a:spLocks noGrp="1"/>
          </p:cNvSpPr>
          <p:nvPr>
            <p:ph type="pic" idx="2" hasCustomPrompt="1"/>
          </p:nvPr>
        </p:nvSpPr>
        <p:spPr>
          <a:xfrm>
            <a:off x="15565050" y="1027450"/>
            <a:ext cx="180870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0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223668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9966960"/>
            <a:ext cx="18288000" cy="320039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3" name="Google Shape;17;p3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424406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25" name="Google Shape;17;p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6" name="Picture Placeholder 5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2661779" y="2553531"/>
            <a:ext cx="2047037" cy="2047037"/>
          </a:xfrm>
          <a:prstGeom prst="ellipse">
            <a:avLst/>
          </a:prstGeom>
        </p:spPr>
        <p:txBody>
          <a:bodyPr/>
          <a:lstStyle/>
          <a:p>
            <a:r>
              <a:rPr lang="en-AU" dirty="0"/>
              <a:t>18</a:t>
            </a:r>
          </a:p>
        </p:txBody>
      </p:sp>
    </p:spTree>
    <p:extLst>
      <p:ext uri="{BB962C8B-B14F-4D97-AF65-F5344CB8AC3E}">
        <p14:creationId xmlns:p14="http://schemas.microsoft.com/office/powerpoint/2010/main" val="38372052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3_BLOCK_LAYOUT_V2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2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31000" y="2747907"/>
            <a:ext cx="4656225" cy="2047037"/>
          </a:xfr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D41494DB-BB2C-1488-7FA7-14252B9BB5E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0" y="0"/>
            <a:ext cx="361950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AU" dirty="0"/>
          </a:p>
        </p:txBody>
      </p:sp>
      <p:sp>
        <p:nvSpPr>
          <p:cNvPr id="23" name="Google Shape;17;p3">
            <a:extLst>
              <a:ext uri="{FF2B5EF4-FFF2-40B4-BE49-F238E27FC236}">
                <a16:creationId xmlns:a16="http://schemas.microsoft.com/office/drawing/2014/main" id="{32C7D559-D1EE-DBF8-7D21-FD5B68299FB8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6119813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1</a:t>
            </a:r>
            <a:endParaRPr dirty="0"/>
          </a:p>
        </p:txBody>
      </p:sp>
      <p:sp>
        <p:nvSpPr>
          <p:cNvPr id="24" name="Picture Placeholder 5">
            <a:extLst>
              <a:ext uri="{FF2B5EF4-FFF2-40B4-BE49-F238E27FC236}">
                <a16:creationId xmlns:a16="http://schemas.microsoft.com/office/drawing/2014/main" id="{15E11F02-F723-E887-1059-7D8B547CC1F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8390" y="2747906"/>
            <a:ext cx="4677648" cy="2047037"/>
          </a:xfr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25" name="Google Shape;17;p3">
            <a:extLst>
              <a:ext uri="{FF2B5EF4-FFF2-40B4-BE49-F238E27FC236}">
                <a16:creationId xmlns:a16="http://schemas.microsoft.com/office/drawing/2014/main" id="{A0A92251-08F7-740D-70BE-AE9F66EC98FA}"/>
              </a:ext>
            </a:extLst>
          </p:cNvPr>
          <p:cNvSpPr txBox="1">
            <a:spLocks noGrp="1"/>
          </p:cNvSpPr>
          <p:nvPr>
            <p:ph type="body" idx="21" hasCustomPrompt="1"/>
          </p:nvPr>
        </p:nvSpPr>
        <p:spPr>
          <a:xfrm>
            <a:off x="11357186" y="5143500"/>
            <a:ext cx="4656225" cy="4457724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26" name="Picture Placeholder 5">
            <a:extLst>
              <a:ext uri="{FF2B5EF4-FFF2-40B4-BE49-F238E27FC236}">
                <a16:creationId xmlns:a16="http://schemas.microsoft.com/office/drawing/2014/main" id="{989A4AD0-78D2-7CB1-A52C-254E41F679F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1357186" y="2747905"/>
            <a:ext cx="4644814" cy="2047037"/>
          </a:xfrm>
        </p:spPr>
        <p:txBody>
          <a:bodyPr/>
          <a:lstStyle/>
          <a:p>
            <a:r>
              <a:rPr lang="en-AU" dirty="0"/>
              <a:t>18</a:t>
            </a:r>
          </a:p>
        </p:txBody>
      </p:sp>
    </p:spTree>
    <p:extLst>
      <p:ext uri="{BB962C8B-B14F-4D97-AF65-F5344CB8AC3E}">
        <p14:creationId xmlns:p14="http://schemas.microsoft.com/office/powerpoint/2010/main" val="18319269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4_BLOCK_LAYOU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477E95E2-5F9A-CB34-90F6-EF198646E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0794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E95E2-5F9A-CB34-90F6-EF198646E6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919076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6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7E3D27C-335F-2A82-45D0-E48FA5C2086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9076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</a:t>
            </a:r>
          </a:p>
        </p:txBody>
      </p:sp>
      <p:sp>
        <p:nvSpPr>
          <p:cNvPr id="2" name="Google Shape;17;p3">
            <a:extLst>
              <a:ext uri="{FF2B5EF4-FFF2-40B4-BE49-F238E27FC236}">
                <a16:creationId xmlns:a16="http://schemas.microsoft.com/office/drawing/2014/main" id="{B72C5E58-53F4-0EA6-D32E-ADEF51F174DB}"/>
              </a:ext>
            </a:extLst>
          </p:cNvPr>
          <p:cNvSpPr txBox="1">
            <a:spLocks noGrp="1"/>
          </p:cNvSpPr>
          <p:nvPr>
            <p:ph type="body" idx="19" hasCustomPrompt="1"/>
          </p:nvPr>
        </p:nvSpPr>
        <p:spPr>
          <a:xfrm>
            <a:off x="5104028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9</a:t>
            </a:r>
            <a:endParaRPr dirty="0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548E7E5D-1895-B2EB-B13F-C15207C4095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104028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12</a:t>
            </a:r>
          </a:p>
        </p:txBody>
      </p:sp>
      <p:sp>
        <p:nvSpPr>
          <p:cNvPr id="12" name="Google Shape;17;p3">
            <a:extLst>
              <a:ext uri="{FF2B5EF4-FFF2-40B4-BE49-F238E27FC236}">
                <a16:creationId xmlns:a16="http://schemas.microsoft.com/office/drawing/2014/main" id="{4EC85EFB-1D00-34F3-DEFC-3D132152607F}"/>
              </a:ext>
            </a:extLst>
          </p:cNvPr>
          <p:cNvSpPr txBox="1">
            <a:spLocks noGrp="1"/>
          </p:cNvSpPr>
          <p:nvPr>
            <p:ph type="body" idx="22" hasCustomPrompt="1"/>
          </p:nvPr>
        </p:nvSpPr>
        <p:spPr>
          <a:xfrm>
            <a:off x="9288980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2</a:t>
            </a:r>
            <a:endParaRPr dirty="0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EA08CF17-561F-6A45-B311-DF3E79243E6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288980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0</a:t>
            </a:r>
          </a:p>
        </p:txBody>
      </p:sp>
      <p:sp>
        <p:nvSpPr>
          <p:cNvPr id="21" name="Google Shape;17;p3">
            <a:extLst>
              <a:ext uri="{FF2B5EF4-FFF2-40B4-BE49-F238E27FC236}">
                <a16:creationId xmlns:a16="http://schemas.microsoft.com/office/drawing/2014/main" id="{97130B1B-4ED5-07BD-72B7-007C1D1E0682}"/>
              </a:ext>
            </a:extLst>
          </p:cNvPr>
          <p:cNvSpPr txBox="1">
            <a:spLocks noGrp="1"/>
          </p:cNvSpPr>
          <p:nvPr>
            <p:ph type="body" idx="25" hasCustomPrompt="1"/>
          </p:nvPr>
        </p:nvSpPr>
        <p:spPr>
          <a:xfrm>
            <a:off x="13473932" y="4432299"/>
            <a:ext cx="3899668" cy="51689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25</a:t>
            </a:r>
            <a:endParaRPr dirty="0"/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4D333938-660B-24CF-7672-26505437B26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13473932" y="2685574"/>
            <a:ext cx="3899668" cy="1460500"/>
          </a:xfrm>
          <a:prstGeom prst="rect">
            <a:avLst/>
          </a:prstGeom>
        </p:spPr>
        <p:txBody>
          <a:bodyPr/>
          <a:lstStyle/>
          <a:p>
            <a:r>
              <a:rPr lang="en-AU" dirty="0"/>
              <a:t>23</a:t>
            </a:r>
          </a:p>
        </p:txBody>
      </p:sp>
    </p:spTree>
    <p:extLst>
      <p:ext uri="{BB962C8B-B14F-4D97-AF65-F5344CB8AC3E}">
        <p14:creationId xmlns:p14="http://schemas.microsoft.com/office/powerpoint/2010/main" val="18073469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FULLPAGE_IMAGE_QUOTE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0" y="6375"/>
            <a:ext cx="18287999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01EAD0F-8252-A92E-A4DF-B071AD590EF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0"/>
            <a:ext cx="18288000" cy="10293350"/>
          </a:xfrm>
          <a:solidFill>
            <a:schemeClr val="bg1">
              <a:lumMod val="75000"/>
              <a:alpha val="80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6119813" y="5869292"/>
            <a:ext cx="6093129" cy="275907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76200" lvl="0" indent="0" algn="ctr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None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2671482" y="2263775"/>
            <a:ext cx="13330518" cy="2879726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000"/>
              <a:buNone/>
              <a:defRPr sz="88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EF8EFC7-DE23-07B9-50F1-01C75247A78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-1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7201730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IRST_SLIDE_LAYOUT" preserve="1" userDrawn="1">
  <p:cSld name="AGENDA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92FF0AA-4FA1-E149-BB2E-7C66E28944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670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2FF0AA-4FA1-E149-BB2E-7C66E28944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D864B0-BB80-85B4-6D20-14E6EB4829E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862458" y="0"/>
            <a:ext cx="5055325" cy="10287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5" name="Google Shape;12;p2">
            <a:extLst>
              <a:ext uri="{FF2B5EF4-FFF2-40B4-BE49-F238E27FC236}">
                <a16:creationId xmlns:a16="http://schemas.microsoft.com/office/drawing/2014/main" id="{95DCF182-B604-EEF0-2FEE-71E45D8CE067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29401" y="2011363"/>
            <a:ext cx="8214600" cy="141763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9600"/>
              <a:buNone/>
              <a:defRPr sz="4600">
                <a:solidFill>
                  <a:schemeClr val="tx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Font typeface="Roboto Light"/>
              <a:buNone/>
              <a:defRPr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6" name="Google Shape;13;p2">
            <a:extLst>
              <a:ext uri="{FF2B5EF4-FFF2-40B4-BE49-F238E27FC236}">
                <a16:creationId xmlns:a16="http://schemas.microsoft.com/office/drawing/2014/main" id="{54938CA8-0274-0498-1064-D46F9913D54D}"/>
              </a:ext>
            </a:extLst>
          </p:cNvPr>
          <p:cNvSpPr txBox="1">
            <a:spLocks noGrp="1"/>
          </p:cNvSpPr>
          <p:nvPr>
            <p:ph type="body" idx="1" hasCustomPrompt="1"/>
          </p:nvPr>
        </p:nvSpPr>
        <p:spPr>
          <a:xfrm>
            <a:off x="929401" y="3747247"/>
            <a:ext cx="8214600" cy="50023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571500" lvl="0" indent="-571500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3600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●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○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53340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Char char="■"/>
              <a:defRPr sz="48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7" name="Google Shape;14;p2">
            <a:extLst>
              <a:ext uri="{FF2B5EF4-FFF2-40B4-BE49-F238E27FC236}">
                <a16:creationId xmlns:a16="http://schemas.microsoft.com/office/drawing/2014/main" id="{3097672A-5659-5B5F-6D5C-F22FA04F334D}"/>
              </a:ext>
            </a:extLst>
          </p:cNvPr>
          <p:cNvSpPr>
            <a:spLocks noGrp="1"/>
          </p:cNvSpPr>
          <p:nvPr>
            <p:ph type="pic" idx="2" hasCustomPrompt="1"/>
          </p:nvPr>
        </p:nvSpPr>
        <p:spPr>
          <a:xfrm>
            <a:off x="15544800" y="1027450"/>
            <a:ext cx="1828950" cy="18087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2" name="Content Placeholder 5">
            <a:extLst>
              <a:ext uri="{FF2B5EF4-FFF2-40B4-BE49-F238E27FC236}">
                <a16:creationId xmlns:a16="http://schemas.microsoft.com/office/drawing/2014/main" id="{4FAB3CEC-34D5-F8C2-2849-CD522F40C82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862458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776094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049">
          <p15:clr>
            <a:srgbClr val="E46962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SIC_LAYOUT" preserve="1" userDrawn="1">
  <p:cSld name="BASIC_CONTENT_V1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5F9A914-029A-FACA-89CD-82BDDCAA23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0899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F9A914-029A-FACA-89CD-82BDDCAA23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Google Shape;16;p3"/>
          <p:cNvSpPr txBox="1">
            <a:spLocks noGrp="1"/>
          </p:cNvSpPr>
          <p:nvPr>
            <p:ph type="title" hasCustomPrompt="1"/>
          </p:nvPr>
        </p:nvSpPr>
        <p:spPr>
          <a:xfrm>
            <a:off x="4831491" y="3207472"/>
            <a:ext cx="6499897" cy="1929653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17" name="Google Shape;17;p3"/>
          <p:cNvSpPr txBox="1">
            <a:spLocks noGrp="1"/>
          </p:cNvSpPr>
          <p:nvPr>
            <p:ph type="body" idx="1" hasCustomPrompt="1"/>
          </p:nvPr>
        </p:nvSpPr>
        <p:spPr>
          <a:xfrm>
            <a:off x="4831492" y="5149875"/>
            <a:ext cx="6499896" cy="445772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533400" lvl="0" indent="-4572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18" name="Google Shape;18;p3"/>
          <p:cNvSpPr>
            <a:spLocks noGrp="1"/>
          </p:cNvSpPr>
          <p:nvPr>
            <p:ph type="pic" idx="2"/>
          </p:nvPr>
        </p:nvSpPr>
        <p:spPr>
          <a:xfrm>
            <a:off x="4831491" y="102870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3" name="Google Shape;35;p6">
            <a:extLst>
              <a:ext uri="{FF2B5EF4-FFF2-40B4-BE49-F238E27FC236}">
                <a16:creationId xmlns:a16="http://schemas.microsoft.com/office/drawing/2014/main" id="{06D4F85C-9A50-3DC0-80AA-7315DE0FAC40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12239625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2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38176A5C-D173-4CE5-8B87-A1D02EA54F9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0926" y="0"/>
            <a:ext cx="4094909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7D196E1-1554-1258-960F-5C778357F79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2239625" y="9601200"/>
            <a:ext cx="505532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958450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TEXT" userDrawn="1">
  <p:cSld name="HEADING_LEFT_CONTENT_RIGHT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A552A79-B159-5259-79DF-C48F82B0D5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9154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552A79-B159-5259-79DF-C48F82B0D5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Google Shape;25;p4"/>
          <p:cNvSpPr txBox="1"/>
          <p:nvPr/>
        </p:nvSpPr>
        <p:spPr>
          <a:xfrm>
            <a:off x="942500" y="9602000"/>
            <a:ext cx="8201400" cy="39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latin typeface="Roboto Light"/>
                <a:ea typeface="Roboto Light"/>
                <a:cs typeface="Roboto Light"/>
                <a:sym typeface="Roboto Light"/>
              </a:rPr>
              <a:t>Smart Slides ChatGPT Plugin</a:t>
            </a:r>
            <a:endParaRPr>
              <a:latin typeface="Roboto Light"/>
              <a:ea typeface="Roboto Light"/>
              <a:cs typeface="Roboto Light"/>
              <a:sym typeface="Roboto Light"/>
            </a:endParaRPr>
          </a:p>
        </p:txBody>
      </p:sp>
      <p:sp>
        <p:nvSpPr>
          <p:cNvPr id="26" name="Google Shape;26;p4"/>
          <p:cNvSpPr>
            <a:spLocks noGrp="1"/>
          </p:cNvSpPr>
          <p:nvPr>
            <p:ph type="pic" idx="2" hasCustomPrompt="1"/>
          </p:nvPr>
        </p:nvSpPr>
        <p:spPr>
          <a:xfrm>
            <a:off x="16002000" y="10274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27" name="Google Shape;27;p4"/>
          <p:cNvSpPr txBox="1">
            <a:spLocks noGrp="1"/>
          </p:cNvSpPr>
          <p:nvPr>
            <p:ph type="body" idx="1" hasCustomPrompt="1"/>
          </p:nvPr>
        </p:nvSpPr>
        <p:spPr>
          <a:xfrm>
            <a:off x="9700325" y="2010750"/>
            <a:ext cx="5844300" cy="759125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US" dirty="0"/>
              <a:t>1</a:t>
            </a:r>
            <a:endParaRPr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384E20F-F2E2-7BD3-CA85-528A005F520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0" y="0"/>
            <a:ext cx="9144000" cy="10287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r>
              <a:rPr lang="en-AU" dirty="0"/>
              <a:t>10</a:t>
            </a:r>
          </a:p>
        </p:txBody>
      </p:sp>
      <p:sp>
        <p:nvSpPr>
          <p:cNvPr id="7" name="Google Shape;24;p4">
            <a:extLst>
              <a:ext uri="{FF2B5EF4-FFF2-40B4-BE49-F238E27FC236}">
                <a16:creationId xmlns:a16="http://schemas.microsoft.com/office/drawing/2014/main" id="{80117613-6917-EF6F-BF4D-A48C702D8D66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942500" y="2010750"/>
            <a:ext cx="7119600" cy="1704000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US" dirty="0"/>
              <a:t>0</a:t>
            </a:r>
            <a:endParaRPr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9144000" y="6375"/>
            <a:ext cx="914400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10</a:t>
            </a:r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3729318"/>
            <a:ext cx="7529186" cy="587188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919163" y="2263775"/>
            <a:ext cx="7529186" cy="1465542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6569A8CA-36B2-E265-E4E7-8A8DF21B36D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914400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27722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 hasCustomPrompt="1"/>
          </p:nvPr>
        </p:nvSpPr>
        <p:spPr>
          <a:xfrm>
            <a:off x="6119813" y="6375"/>
            <a:ext cx="12168187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r>
              <a:rPr lang="en-AU" dirty="0"/>
              <a:t>3</a:t>
            </a:r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 hasCustomPrompt="1"/>
          </p:nvPr>
        </p:nvSpPr>
        <p:spPr>
          <a:xfrm>
            <a:off x="919075" y="4410635"/>
            <a:ext cx="4624475" cy="519056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r>
              <a:rPr lang="en-AU" dirty="0"/>
              <a:t>1</a:t>
            </a:r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 hasCustomPrompt="1"/>
          </p:nvPr>
        </p:nvSpPr>
        <p:spPr>
          <a:xfrm>
            <a:off x="919075" y="2263775"/>
            <a:ext cx="4624475" cy="2146859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r>
              <a:rPr lang="en-AU" dirty="0"/>
              <a:t>0</a:t>
            </a:r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 hasCustomPrompt="1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r>
              <a:rPr lang="en-US" dirty="0"/>
              <a:t>2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21B0C253-932F-B3BD-E206-97C92A0A7EA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119813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8993204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HALF_TOP_WITH_IMAGE_RIGH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1C84CE4-FE6A-F2C4-A6BC-618800B8832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2239625" cy="51435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76200" indent="0">
              <a:buNone/>
              <a:defRPr/>
            </a:lvl1pPr>
          </a:lstStyle>
          <a:p>
            <a:pPr lvl="0"/>
            <a:endParaRPr lang="en-US" dirty="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75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/>
          </p:nvPr>
        </p:nvSpPr>
        <p:spPr>
          <a:xfrm>
            <a:off x="12239624" y="6375"/>
            <a:ext cx="6048375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/>
          </p:nvPr>
        </p:nvSpPr>
        <p:spPr>
          <a:xfrm>
            <a:off x="919074" y="5865222"/>
            <a:ext cx="10393359" cy="3735977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/>
          </p:nvPr>
        </p:nvSpPr>
        <p:spPr>
          <a:xfrm>
            <a:off x="919075" y="2263775"/>
            <a:ext cx="10393358" cy="2193924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919163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5883D0F6-2B8F-8E60-1AD0-C2C9565B7E9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2239625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19778781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ALF_WITH_IMAGE_RIGHT" preserve="1" userDrawn="1">
  <p:cSld name="23RD_IMG_LEF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EBEFA8E-76DC-F156-F2C1-98BAF0645D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2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BEFA8E-76DC-F156-F2C1-98BAF0645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6"/>
          <p:cNvSpPr>
            <a:spLocks noGrp="1"/>
          </p:cNvSpPr>
          <p:nvPr>
            <p:ph type="pic" idx="2"/>
          </p:nvPr>
        </p:nvSpPr>
        <p:spPr>
          <a:xfrm>
            <a:off x="-30955" y="6375"/>
            <a:ext cx="12270580" cy="10287000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76200" indent="0">
              <a:buNone/>
              <a:defRPr/>
            </a:lvl1pPr>
          </a:lstStyle>
          <a:p>
            <a:endParaRPr lang="en-AU" dirty="0"/>
          </a:p>
        </p:txBody>
      </p:sp>
      <p:sp>
        <p:nvSpPr>
          <p:cNvPr id="37" name="Google Shape;37;p6"/>
          <p:cNvSpPr txBox="1">
            <a:spLocks noGrp="1"/>
          </p:cNvSpPr>
          <p:nvPr>
            <p:ph type="body" idx="1"/>
          </p:nvPr>
        </p:nvSpPr>
        <p:spPr>
          <a:xfrm>
            <a:off x="12744450" y="4428564"/>
            <a:ext cx="4624475" cy="5172635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360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Roboto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●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○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Roboto Light"/>
              <a:buChar char="■"/>
              <a:defRPr sz="2400"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endParaRPr dirty="0"/>
          </a:p>
        </p:txBody>
      </p:sp>
      <p:sp>
        <p:nvSpPr>
          <p:cNvPr id="38" name="Google Shape;38;p6"/>
          <p:cNvSpPr txBox="1">
            <a:spLocks noGrp="1"/>
          </p:cNvSpPr>
          <p:nvPr>
            <p:ph type="title"/>
          </p:nvPr>
        </p:nvSpPr>
        <p:spPr>
          <a:xfrm>
            <a:off x="12744450" y="2263775"/>
            <a:ext cx="4624475" cy="2164788"/>
          </a:xfrm>
          <a:prstGeom prst="rect">
            <a:avLst/>
          </a:prstGeom>
        </p:spPr>
        <p:txBody>
          <a:bodyPr spcFirstLastPara="1" wrap="square" lIns="0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000"/>
              <a:buNone/>
              <a:defRPr sz="4600"/>
            </a:lvl1pPr>
            <a:lvl2pPr lvl="1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2pPr>
            <a:lvl3pPr lvl="2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3pPr>
            <a:lvl4pPr lvl="3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4pPr>
            <a:lvl5pPr lvl="4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5pPr>
            <a:lvl6pPr lvl="5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6pPr>
            <a:lvl7pPr lvl="6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7pPr>
            <a:lvl8pPr lvl="7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8pPr>
            <a:lvl9pPr lvl="8" rtl="0">
              <a:spcBef>
                <a:spcPts val="0"/>
              </a:spcBef>
              <a:spcAft>
                <a:spcPts val="0"/>
              </a:spcAft>
              <a:buSzPts val="5300"/>
              <a:buNone/>
              <a:defRPr sz="5300"/>
            </a:lvl9pPr>
          </a:lstStyle>
          <a:p>
            <a:endParaRPr dirty="0"/>
          </a:p>
        </p:txBody>
      </p:sp>
      <p:sp>
        <p:nvSpPr>
          <p:cNvPr id="3" name="Google Shape;36;p6">
            <a:extLst>
              <a:ext uri="{FF2B5EF4-FFF2-40B4-BE49-F238E27FC236}">
                <a16:creationId xmlns:a16="http://schemas.microsoft.com/office/drawing/2014/main" id="{0426F7FC-2911-8DC3-44D1-262A322C3C39}"/>
              </a:ext>
            </a:extLst>
          </p:cNvPr>
          <p:cNvSpPr>
            <a:spLocks noGrp="1"/>
          </p:cNvSpPr>
          <p:nvPr>
            <p:ph type="pic" idx="3"/>
          </p:nvPr>
        </p:nvSpPr>
        <p:spPr>
          <a:xfrm>
            <a:off x="15997325" y="638850"/>
            <a:ext cx="1371600" cy="1371900"/>
          </a:xfrm>
          <a:prstGeom prst="rect">
            <a:avLst/>
          </a:prstGeom>
          <a:noFill/>
          <a:ln>
            <a:noFill/>
          </a:ln>
        </p:spPr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6A16B800-55C2-CFB0-4AA2-3CBB648B98D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0" y="9601200"/>
            <a:ext cx="5133975" cy="679450"/>
          </a:xfrm>
        </p:spPr>
        <p:txBody>
          <a:bodyPr>
            <a:normAutofit/>
          </a:bodyPr>
          <a:lstStyle>
            <a:lvl1pPr marL="76200" indent="0">
              <a:buNone/>
              <a:defRPr sz="1100"/>
            </a:lvl1pPr>
          </a:lstStyle>
          <a:p>
            <a:pPr lvl="0"/>
            <a:r>
              <a:rPr lang="en-US" dirty="0"/>
              <a:t>IMAGE_ATTRIBUTION</a:t>
            </a:r>
          </a:p>
        </p:txBody>
      </p:sp>
    </p:spTree>
    <p:extLst>
      <p:ext uri="{BB962C8B-B14F-4D97-AF65-F5344CB8AC3E}">
        <p14:creationId xmlns:p14="http://schemas.microsoft.com/office/powerpoint/2010/main" val="21660480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5D679FE-3B60-23E0-8EBD-D3204877DB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040606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95" imgH="394" progId="TCLayout.ActiveDocument.1">
                  <p:embed/>
                </p:oleObj>
              </mc:Choice>
              <mc:Fallback>
                <p:oleObj name="think-cell Slide" r:id="rId17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D679FE-3B60-23E0-8EBD-D3204877DB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31000" y="1028700"/>
            <a:ext cx="14625600" cy="98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4800"/>
              <a:buFont typeface="Calibri"/>
              <a:buNone/>
              <a:defRPr sz="4800"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19075" y="2464225"/>
            <a:ext cx="14625600" cy="707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normAutofit/>
          </a:bodyPr>
          <a:lstStyle>
            <a:lvl1pPr marL="457200" lvl="0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●"/>
              <a:defRPr sz="2400">
                <a:latin typeface="Calibri"/>
                <a:ea typeface="Calibri"/>
                <a:cs typeface="Calibri"/>
                <a:sym typeface="Calibri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○"/>
              <a:defRPr sz="2400">
                <a:latin typeface="Calibri"/>
                <a:ea typeface="Calibri"/>
                <a:cs typeface="Calibri"/>
                <a:sym typeface="Calibri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Font typeface="Calibri"/>
              <a:buChar char="■"/>
              <a:defRPr sz="2400"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AU" dirty="0" err="1"/>
              <a:t>asd</a:t>
            </a:r>
            <a:endParaRPr dirty="0"/>
          </a:p>
        </p:txBody>
      </p:sp>
      <p:sp>
        <p:nvSpPr>
          <p:cNvPr id="8" name="Google Shape;8;p1"/>
          <p:cNvSpPr txBox="1"/>
          <p:nvPr/>
        </p:nvSpPr>
        <p:spPr>
          <a:xfrm>
            <a:off x="942500" y="9602000"/>
            <a:ext cx="8201400" cy="39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latin typeface="Roboto Light"/>
                <a:ea typeface="Roboto Light"/>
                <a:cs typeface="Roboto Light"/>
                <a:sym typeface="Roboto Light"/>
              </a:rPr>
              <a:t>Smart Slides ChatGPT Plugin</a:t>
            </a:r>
            <a:endParaRPr>
              <a:latin typeface="Roboto Light"/>
              <a:ea typeface="Roboto Light"/>
              <a:cs typeface="Roboto Light"/>
              <a:sym typeface="Roboto Light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3" r:id="rId1"/>
    <p:sldLayoutId id="2147483666" r:id="rId2"/>
    <p:sldLayoutId id="2147483662" r:id="rId3"/>
    <p:sldLayoutId id="2147483664" r:id="rId4"/>
    <p:sldLayoutId id="2147483650" r:id="rId5"/>
    <p:sldLayoutId id="2147483660" r:id="rId6"/>
    <p:sldLayoutId id="2147483657" r:id="rId7"/>
    <p:sldLayoutId id="2147483665" r:id="rId8"/>
    <p:sldLayoutId id="2147483658" r:id="rId9"/>
    <p:sldLayoutId id="2147483661" r:id="rId10"/>
    <p:sldLayoutId id="2147483653" r:id="rId11"/>
    <p:sldLayoutId id="2147483655" r:id="rId12"/>
    <p:sldLayoutId id="2147483659" r:id="rId13"/>
    <p:sldLayoutId id="2147483656" r:id="rId14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5760">
          <p15:clr>
            <a:srgbClr val="E46962"/>
          </p15:clr>
        </p15:guide>
        <p15:guide id="2" pos="579">
          <p15:clr>
            <a:srgbClr val="E46962"/>
          </p15:clr>
        </p15:guide>
        <p15:guide id="3" pos="10944">
          <p15:clr>
            <a:srgbClr val="E46962"/>
          </p15:clr>
        </p15:guide>
        <p15:guide id="4" orient="horz" pos="648">
          <p15:clr>
            <a:srgbClr val="E46962"/>
          </p15:clr>
        </p15:guide>
        <p15:guide id="5" orient="horz" pos="6048">
          <p15:clr>
            <a:srgbClr val="E46962"/>
          </p15:clr>
        </p15:guide>
        <p15:guide id="6" orient="horz" pos="3240">
          <p15:clr>
            <a:srgbClr val="E46962"/>
          </p15:clr>
        </p15:guide>
        <p15:guide id="7" orient="horz" pos="1267">
          <p15:clr>
            <a:srgbClr val="E46962"/>
          </p15:clr>
        </p15:guide>
        <p15:guide id="8" pos="9792">
          <p15:clr>
            <a:srgbClr val="E46962"/>
          </p15:clr>
        </p15:guide>
        <p15:guide id="9" pos="10080">
          <p15:clr>
            <a:srgbClr val="E46962"/>
          </p15:clr>
        </p15:guide>
        <p15:guide id="10" pos="3855" userDrawn="1">
          <p15:clr>
            <a:srgbClr val="E46962"/>
          </p15:clr>
        </p15:guide>
        <p15:guide id="11" pos="7710" userDrawn="1">
          <p15:clr>
            <a:srgbClr val="E46962"/>
          </p15:clr>
        </p15:guide>
        <p15:guide id="12" orient="horz" pos="2160" userDrawn="1">
          <p15:clr>
            <a:srgbClr val="E46962"/>
          </p15:clr>
        </p15:guide>
        <p15:guide id="13" orient="horz" pos="4310" userDrawn="1">
          <p15:clr>
            <a:srgbClr val="E46962"/>
          </p15:clr>
        </p15:guide>
        <p15:guide id="14" orient="horz" pos="142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C831E7FE-1864-009E-DBA0-55629A4FB5C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0" y="5143500"/>
            <a:ext cx="11149263" cy="5143500"/>
          </a:xfrm>
        </p:spPr>
        <p:txBody>
          <a:bodyPr/>
          <a:lstStyle/>
          <a:p>
            <a:pPr marL="898525" algn="l">
              <a:spcAft>
                <a:spcPts val="600"/>
              </a:spcAft>
            </a:pPr>
            <a:endParaRPr lang="pt-BR" sz="3600" dirty="0"/>
          </a:p>
          <a:p>
            <a:pPr marL="352425" algn="l">
              <a:spcAft>
                <a:spcPts val="600"/>
              </a:spcAft>
            </a:pPr>
            <a:r>
              <a:rPr lang="es-ES" sz="3600" b="1" i="1" dirty="0"/>
              <a:t>Innovación Legal, Sostenibilidad/ESG y Compliance en Argentina y en Brasil </a:t>
            </a:r>
            <a:r>
              <a:rPr lang="pt-BR" sz="3600" b="1" i="1" dirty="0"/>
              <a:t>- </a:t>
            </a:r>
            <a:r>
              <a:rPr lang="pt-BR" sz="3600" b="1" i="1" dirty="0" err="1"/>
              <a:t>Octubre</a:t>
            </a:r>
            <a:r>
              <a:rPr lang="pt-BR" sz="3600" b="1" i="1" dirty="0"/>
              <a:t>/2023</a:t>
            </a:r>
          </a:p>
          <a:p>
            <a:pPr marL="898525" algn="l">
              <a:spcAft>
                <a:spcPts val="600"/>
              </a:spcAft>
            </a:pPr>
            <a:endParaRPr lang="pt-BR" sz="3600" dirty="0"/>
          </a:p>
          <a:p>
            <a:pPr marL="898525">
              <a:spcAft>
                <a:spcPts val="600"/>
              </a:spcAft>
            </a:pPr>
            <a:r>
              <a:rPr lang="pt-BR" sz="3600" dirty="0"/>
              <a:t>Afonso de Paula Pinheiro Rocha - </a:t>
            </a:r>
            <a:r>
              <a:rPr lang="pt-BR" sz="2800" dirty="0"/>
              <a:t>Ministério Público do Trabalho - </a:t>
            </a:r>
            <a:r>
              <a:rPr lang="pt-BR" sz="2800" dirty="0" err="1"/>
              <a:t>Doctor</a:t>
            </a:r>
            <a:r>
              <a:rPr lang="pt-BR" sz="2800" dirty="0"/>
              <a:t> </a:t>
            </a:r>
            <a:r>
              <a:rPr lang="pt-BR" sz="2800" dirty="0" err="1"/>
              <a:t>en</a:t>
            </a:r>
            <a:r>
              <a:rPr lang="pt-BR" sz="2800" dirty="0"/>
              <a:t> </a:t>
            </a:r>
            <a:r>
              <a:rPr lang="pt-BR" sz="2800" dirty="0" err="1"/>
              <a:t>Derecho</a:t>
            </a:r>
            <a:endParaRPr lang="pt-BR" sz="2800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27203" y="560181"/>
            <a:ext cx="9840152" cy="3498472"/>
          </a:xfrm>
        </p:spPr>
        <p:txBody>
          <a:bodyPr wrap="square" anchor="t">
            <a:normAutofit fontScale="90000"/>
          </a:bodyPr>
          <a:lstStyle/>
          <a:p>
            <a:pPr algn="l">
              <a:defRPr>
                <a:solidFill>
                  <a:srgbClr val="FFFFFF"/>
                </a:solidFill>
              </a:defRPr>
            </a:pPr>
            <a:r>
              <a:rPr lang="es-ES" sz="9600" dirty="0">
                <a:solidFill>
                  <a:schemeClr val="tx1"/>
                </a:solidFill>
              </a:rPr>
              <a:t>Redes Contractuales y Responsabilidad Socio Ambiental</a:t>
            </a:r>
          </a:p>
        </p:txBody>
      </p:sp>
      <p:pic>
        <p:nvPicPr>
          <p:cNvPr id="2" name="Espaço Reservado para Conteúdo 13">
            <a:extLst>
              <a:ext uri="{FF2B5EF4-FFF2-40B4-BE49-F238E27FC236}">
                <a16:creationId xmlns:a16="http://schemas.microsoft.com/office/drawing/2014/main" id="{EF10077F-17D7-D9C9-D385-3A89D80FA8A4}"/>
              </a:ext>
            </a:extLst>
          </p:cNvPr>
          <p:cNvPicPr>
            <a:picLocks noGrp="1" noChangeAspect="1"/>
          </p:cNvPicPr>
          <p:nvPr>
            <p:ph sz="quarter" idx="11"/>
          </p:nvPr>
        </p:nvPicPr>
        <p:blipFill rotWithShape="1">
          <a:blip r:embed="rId2"/>
          <a:srcRect l="55900" r="17429" b="-1"/>
          <a:stretch/>
        </p:blipFill>
        <p:spPr>
          <a:xfrm>
            <a:off x="11149263" y="10"/>
            <a:ext cx="7138737" cy="10286990"/>
          </a:xfrm>
          <a:prstGeom prst="rect">
            <a:avLst/>
          </a:prstGeom>
          <a:noFill/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F6AD3806-3B04-BB5B-93DE-73ACD559B3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000946"/>
            <a:ext cx="5010849" cy="1286054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13267"/>
            <a:ext cx="7991774" cy="3824706"/>
          </a:xfrm>
        </p:spPr>
        <p:txBody>
          <a:bodyPr wrap="square" anchor="t">
            <a:normAutofit fontScale="90000"/>
          </a:bodyPr>
          <a:lstStyle/>
          <a:p>
            <a:pPr algn="ctr">
              <a:defRPr>
                <a:solidFill>
                  <a:srgbClr val="8500EA"/>
                </a:solidFill>
              </a:defRPr>
            </a:pPr>
            <a:r>
              <a:rPr lang="es-ES" sz="8000" dirty="0"/>
              <a:t>Redes Contractuales en el Derecho Brasileño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07054" y="694267"/>
            <a:ext cx="8966546" cy="8890000"/>
          </a:xfrm>
        </p:spPr>
        <p:txBody>
          <a:bodyPr wrap="square" anchor="t">
            <a:normAutofit/>
          </a:bodyPr>
          <a:lstStyle/>
          <a:p>
            <a:pPr algn="just">
              <a:spcAft>
                <a:spcPts val="600"/>
              </a:spcAft>
            </a:pPr>
            <a:r>
              <a:rPr lang="es-ES" sz="4800" dirty="0"/>
              <a:t>Definición y concepto general</a:t>
            </a:r>
          </a:p>
          <a:p>
            <a:pPr algn="just">
              <a:spcAft>
                <a:spcPts val="600"/>
              </a:spcAft>
            </a:pPr>
            <a:endParaRPr lang="es-ES" sz="4800" dirty="0"/>
          </a:p>
          <a:p>
            <a:pPr algn="just">
              <a:spcAft>
                <a:spcPts val="600"/>
              </a:spcAft>
            </a:pPr>
            <a:r>
              <a:rPr lang="es-ES" sz="4800" dirty="0"/>
              <a:t>Reconocimiento legal y regulación.</a:t>
            </a:r>
          </a:p>
          <a:p>
            <a:pPr algn="just">
              <a:spcAft>
                <a:spcPts val="600"/>
              </a:spcAft>
            </a:pPr>
            <a:endParaRPr lang="es-ES" sz="4800" dirty="0"/>
          </a:p>
          <a:p>
            <a:pPr algn="just">
              <a:spcAft>
                <a:spcPts val="600"/>
              </a:spcAft>
            </a:pPr>
            <a:r>
              <a:rPr lang="es-ES" sz="4800" dirty="0"/>
              <a:t>Importancia en el contexto empresarial y jurídico</a:t>
            </a:r>
          </a:p>
          <a:p>
            <a:pPr algn="just">
              <a:spcAft>
                <a:spcPts val="600"/>
              </a:spcAft>
            </a:pPr>
            <a:endParaRPr lang="es-ES" sz="4800" dirty="0"/>
          </a:p>
          <a:p>
            <a:pPr algn="just">
              <a:spcAft>
                <a:spcPts val="600"/>
              </a:spcAft>
            </a:pPr>
            <a:r>
              <a:rPr lang="es-ES" sz="4800" dirty="0"/>
              <a:t>Diferencias con otros sistemas jurídicos.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761BA980-2434-CE78-E4BC-D047A38C40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90654" y="4188773"/>
            <a:ext cx="8182428" cy="6248399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00324" y="978568"/>
            <a:ext cx="7737443" cy="8623432"/>
          </a:xfrm>
        </p:spPr>
        <p:txBody>
          <a:bodyPr>
            <a:normAutofit/>
          </a:bodyPr>
          <a:lstStyle/>
          <a:p>
            <a:pPr algn="just"/>
            <a:endParaRPr lang="pt-BR" sz="6000" dirty="0"/>
          </a:p>
          <a:p>
            <a:pPr algn="just"/>
            <a:r>
              <a:rPr sz="6000" dirty="0" err="1"/>
              <a:t>Violaciones</a:t>
            </a:r>
            <a:r>
              <a:rPr sz="6000" dirty="0"/>
              <a:t> a derechos </a:t>
            </a:r>
            <a:r>
              <a:rPr sz="6000" dirty="0" err="1"/>
              <a:t>humanos</a:t>
            </a:r>
            <a:r>
              <a:rPr sz="6000" dirty="0"/>
              <a:t>.</a:t>
            </a:r>
          </a:p>
          <a:p>
            <a:pPr algn="just"/>
            <a:endParaRPr lang="pt-BR" sz="6000" dirty="0"/>
          </a:p>
          <a:p>
            <a:pPr algn="just"/>
            <a:r>
              <a:rPr sz="6000" dirty="0" err="1"/>
              <a:t>Mecanismos</a:t>
            </a:r>
            <a:r>
              <a:rPr sz="6000" dirty="0"/>
              <a:t> de </a:t>
            </a:r>
            <a:r>
              <a:rPr sz="6000" dirty="0" err="1"/>
              <a:t>imputación</a:t>
            </a:r>
            <a:r>
              <a:rPr sz="6000" dirty="0"/>
              <a:t> y </a:t>
            </a:r>
            <a:r>
              <a:rPr sz="6000" dirty="0" err="1"/>
              <a:t>criterios</a:t>
            </a:r>
            <a:r>
              <a:rPr sz="6000" dirty="0"/>
              <a:t>.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solidFill>
            <a:srgbClr val="8500EA"/>
          </a:solidFill>
        </p:spPr>
        <p:txBody>
          <a:bodyPr>
            <a:normAutofit/>
          </a:bodyPr>
          <a:lstStyle/>
          <a:p>
            <a:pPr marL="273050" algn="ctr"/>
            <a:endParaRPr lang="pt-BR" sz="6600" dirty="0">
              <a:solidFill>
                <a:schemeClr val="bg1"/>
              </a:solidFill>
            </a:endParaRPr>
          </a:p>
          <a:p>
            <a:pPr marL="273050" algn="ctr"/>
            <a:endParaRPr lang="pt-BR" sz="6600" dirty="0">
              <a:solidFill>
                <a:schemeClr val="bg1"/>
              </a:solidFill>
            </a:endParaRPr>
          </a:p>
          <a:p>
            <a:pPr marL="273050" algn="ctr"/>
            <a:endParaRPr lang="pt-BR" sz="6600" dirty="0">
              <a:solidFill>
                <a:schemeClr val="bg1"/>
              </a:solidFill>
            </a:endParaRPr>
          </a:p>
          <a:p>
            <a:pPr marL="273050" algn="ctr"/>
            <a:r>
              <a:rPr lang="pt-BR" sz="6600" dirty="0">
                <a:solidFill>
                  <a:schemeClr val="bg1"/>
                </a:solidFill>
              </a:rPr>
              <a:t>Fundamentos Jurídicos de </a:t>
            </a:r>
            <a:r>
              <a:rPr lang="pt-BR" sz="6600" dirty="0" err="1">
                <a:solidFill>
                  <a:schemeClr val="bg1"/>
                </a:solidFill>
              </a:rPr>
              <a:t>Responsabilidad</a:t>
            </a:r>
            <a:r>
              <a:rPr lang="pt-BR" sz="6600" dirty="0">
                <a:solidFill>
                  <a:schemeClr val="bg1"/>
                </a:solidFill>
              </a:rPr>
              <a:t> - Redes </a:t>
            </a:r>
            <a:r>
              <a:rPr lang="pt-BR" sz="6600" dirty="0" err="1">
                <a:solidFill>
                  <a:schemeClr val="bg1"/>
                </a:solidFill>
              </a:rPr>
              <a:t>Contratuales</a:t>
            </a:r>
            <a:r>
              <a:rPr lang="pt-BR" sz="6600" dirty="0">
                <a:solidFill>
                  <a:schemeClr val="bg1"/>
                </a:solidFill>
              </a:rPr>
              <a:t> </a:t>
            </a:r>
            <a:endParaRPr sz="6600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92001" y="6094497"/>
            <a:ext cx="8786399" cy="4162926"/>
          </a:xfrm>
        </p:spPr>
        <p:txBody>
          <a:bodyPr>
            <a:normAutofit/>
          </a:bodyPr>
          <a:lstStyle/>
          <a:p>
            <a:pPr algn="just"/>
            <a:r>
              <a:rPr sz="5400" dirty="0" err="1"/>
              <a:t>Trabajo</a:t>
            </a:r>
            <a:r>
              <a:rPr sz="5400" dirty="0"/>
              <a:t> </a:t>
            </a:r>
            <a:r>
              <a:rPr sz="5400" dirty="0" err="1"/>
              <a:t>esclavo</a:t>
            </a:r>
            <a:r>
              <a:rPr sz="5400" dirty="0"/>
              <a:t> y </a:t>
            </a:r>
            <a:r>
              <a:rPr sz="5400" dirty="0" err="1"/>
              <a:t>trabajo</a:t>
            </a:r>
            <a:r>
              <a:rPr sz="5400" dirty="0"/>
              <a:t> </a:t>
            </a:r>
            <a:r>
              <a:rPr sz="5400" dirty="0" err="1"/>
              <a:t>infantil</a:t>
            </a:r>
            <a:r>
              <a:rPr sz="5400" dirty="0"/>
              <a:t>.</a:t>
            </a:r>
            <a:endParaRPr lang="pt-BR" sz="5400" dirty="0"/>
          </a:p>
          <a:p>
            <a:pPr algn="just"/>
            <a:r>
              <a:rPr sz="5400" dirty="0" err="1"/>
              <a:t>Impacto</a:t>
            </a:r>
            <a:r>
              <a:rPr sz="5400" dirty="0"/>
              <a:t> </a:t>
            </a:r>
            <a:r>
              <a:rPr sz="5400" dirty="0" err="1"/>
              <a:t>en</a:t>
            </a:r>
            <a:r>
              <a:rPr sz="5400" dirty="0"/>
              <a:t> las </a:t>
            </a:r>
            <a:r>
              <a:rPr sz="5400" dirty="0" err="1"/>
              <a:t>cadenas</a:t>
            </a:r>
            <a:r>
              <a:rPr sz="5400" dirty="0"/>
              <a:t> </a:t>
            </a:r>
            <a:r>
              <a:rPr sz="5400" dirty="0" err="1"/>
              <a:t>productivas</a:t>
            </a:r>
            <a:r>
              <a:rPr sz="5400" dirty="0"/>
              <a:t>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457934" y="5120998"/>
            <a:ext cx="7489429" cy="1444675"/>
          </a:xfrm>
        </p:spPr>
        <p:txBody>
          <a:bodyPr/>
          <a:lstStyle/>
          <a:p>
            <a:pPr>
              <a:defRPr>
                <a:solidFill>
                  <a:srgbClr val="8500EA"/>
                </a:solidFill>
              </a:defRPr>
            </a:pPr>
            <a:r>
              <a:rPr dirty="0"/>
              <a:t>Casos </a:t>
            </a:r>
            <a:r>
              <a:rPr dirty="0" err="1"/>
              <a:t>en</a:t>
            </a:r>
            <a:r>
              <a:rPr dirty="0"/>
              <a:t> Derecho </a:t>
            </a:r>
            <a:r>
              <a:rPr dirty="0" err="1"/>
              <a:t>Brasileño</a:t>
            </a:r>
            <a:endParaRPr dirty="0"/>
          </a:p>
        </p:txBody>
      </p:sp>
      <p:pic>
        <p:nvPicPr>
          <p:cNvPr id="11" name="Imagem 10">
            <a:extLst>
              <a:ext uri="{FF2B5EF4-FFF2-40B4-BE49-F238E27FC236}">
                <a16:creationId xmlns:a16="http://schemas.microsoft.com/office/drawing/2014/main" id="{C8B2C87E-A0BD-F841-E701-0CB04562FF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0"/>
            <a:ext cx="8101262" cy="5261811"/>
          </a:xfrm>
          <a:prstGeom prst="rect">
            <a:avLst/>
          </a:prstGeom>
        </p:spPr>
      </p:pic>
      <p:pic>
        <p:nvPicPr>
          <p:cNvPr id="14" name="Imagem 13">
            <a:extLst>
              <a:ext uri="{FF2B5EF4-FFF2-40B4-BE49-F238E27FC236}">
                <a16:creationId xmlns:a16="http://schemas.microsoft.com/office/drawing/2014/main" id="{4651E8AA-FAD5-D8E3-C4C0-B167884D4B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" y="5261811"/>
            <a:ext cx="8101261" cy="5025189"/>
          </a:xfrm>
          <a:prstGeom prst="rect">
            <a:avLst/>
          </a:prstGeom>
        </p:spPr>
      </p:pic>
      <p:pic>
        <p:nvPicPr>
          <p:cNvPr id="17" name="Imagem 16">
            <a:extLst>
              <a:ext uri="{FF2B5EF4-FFF2-40B4-BE49-F238E27FC236}">
                <a16:creationId xmlns:a16="http://schemas.microsoft.com/office/drawing/2014/main" id="{91EC62D5-0168-4A85-B42C-45F958C6FD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17298" y="0"/>
            <a:ext cx="10170702" cy="4774087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0"/>
          </p:nvPr>
        </p:nvSpPr>
        <p:spPr>
          <a:xfrm>
            <a:off x="0" y="4423718"/>
            <a:ext cx="18288000" cy="5863281"/>
          </a:xfrm>
          <a:solidFill>
            <a:srgbClr val="1E3A8A"/>
          </a:solidFill>
        </p:spPr>
        <p:txBody>
          <a:bodyPr>
            <a:normAutofit fontScale="92500" lnSpcReduction="10000"/>
          </a:bodyPr>
          <a:lstStyle/>
          <a:p>
            <a:pPr marL="977900"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tabLst/>
              <a:defRPr/>
            </a:pPr>
            <a:endParaRPr kumimoji="0" lang="es-ES" b="0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  <a:p>
            <a:pPr marL="977900"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tabLst/>
              <a:defRPr/>
            </a:pPr>
            <a:r>
              <a:rPr kumimoji="0" lang="es-ES" sz="6600" b="1" i="1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Biome Light" panose="020B0502040204020203" pitchFamily="34" charset="0"/>
                <a:cs typeface="Biome Light" panose="020B0502040204020203" pitchFamily="34" charset="0"/>
                <a:sym typeface="Calibri"/>
              </a:rPr>
              <a:t>Necesidad de comprender la responsabilidad socioambiental.</a:t>
            </a:r>
          </a:p>
          <a:p>
            <a:pPr marL="977900"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tabLst/>
              <a:defRPr/>
            </a:pPr>
            <a:endParaRPr kumimoji="0" lang="es-ES" sz="6600" b="1" i="1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Biome Light" panose="020B0502040204020203" pitchFamily="34" charset="0"/>
              <a:cs typeface="Biome Light" panose="020B0502040204020203" pitchFamily="34" charset="0"/>
              <a:sym typeface="Calibri"/>
            </a:endParaRPr>
          </a:p>
          <a:p>
            <a:pPr marL="977900"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Calibri"/>
              <a:buNone/>
              <a:tabLst/>
              <a:defRPr/>
            </a:pPr>
            <a:r>
              <a:rPr kumimoji="0" lang="es-ES" sz="6600" b="1" i="1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Biome Light" panose="020B0502040204020203" pitchFamily="34" charset="0"/>
                <a:cs typeface="Biome Light" panose="020B0502040204020203" pitchFamily="34" charset="0"/>
                <a:sym typeface="Calibri"/>
              </a:rPr>
              <a:t>Su importancia para todos los integrantes de las </a:t>
            </a:r>
            <a:r>
              <a:rPr kumimoji="0" lang="es-ES" sz="6600" b="1" i="1" u="none" strike="noStrike" kern="0" cap="none" spc="0" normalizeH="0" baseline="0" noProof="0">
                <a:ln>
                  <a:noFill/>
                </a:ln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Biome Light" panose="020B0502040204020203" pitchFamily="34" charset="0"/>
                <a:cs typeface="Biome Light" panose="020B0502040204020203" pitchFamily="34" charset="0"/>
                <a:sym typeface="Calibri"/>
              </a:rPr>
              <a:t>redes contractuales </a:t>
            </a:r>
            <a:r>
              <a:rPr kumimoji="0" lang="es-ES" sz="6600" b="1" i="1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Biome Light" panose="020B0502040204020203" pitchFamily="34" charset="0"/>
                <a:cs typeface="Biome Light" panose="020B0502040204020203" pitchFamily="34" charset="0"/>
                <a:sym typeface="Calibri"/>
              </a:rPr>
              <a:t>y de las cadenas productivas.</a:t>
            </a:r>
          </a:p>
          <a:p>
            <a:endParaRPr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>
                <a:solidFill>
                  <a:srgbClr val="1E3A8A"/>
                </a:solidFill>
              </a:defRPr>
            </a:pPr>
            <a:r>
              <a:rPr dirty="0" err="1"/>
              <a:t>Conclusión</a:t>
            </a:r>
            <a:endParaRPr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mart Slides v1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8500EA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Metadata/LabelInfo.xml><?xml version="1.0" encoding="utf-8"?>
<clbl:labelList xmlns:clbl="http://schemas.microsoft.com/office/2020/mipLabelMetadata">
  <clbl:label id="{d511aacd-8b6e-4fe1-8773-9724e26e88a3}" enabled="0" method="" siteId="{d511aacd-8b6e-4fe1-8773-9724e26e88a3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620</TotalTime>
  <Words>123</Words>
  <Application>Microsoft Office PowerPoint</Application>
  <PresentationFormat>Personalizar</PresentationFormat>
  <Paragraphs>29</Paragraphs>
  <Slides>5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5</vt:i4>
      </vt:variant>
    </vt:vector>
  </HeadingPairs>
  <TitlesOfParts>
    <vt:vector size="11" baseType="lpstr">
      <vt:lpstr>Calibri</vt:lpstr>
      <vt:lpstr>Arial</vt:lpstr>
      <vt:lpstr>Roboto Light</vt:lpstr>
      <vt:lpstr>Biome Light</vt:lpstr>
      <vt:lpstr>Smart Slides v1</vt:lpstr>
      <vt:lpstr>think-cell Slide</vt:lpstr>
      <vt:lpstr>Redes Contractuales y Responsabilidad Socio Ambiental</vt:lpstr>
      <vt:lpstr>Redes Contractuales en el Derecho Brasileño</vt:lpstr>
      <vt:lpstr>Apresentação do PowerPoint</vt:lpstr>
      <vt:lpstr>Casos en Derecho Brasileño</vt:lpstr>
      <vt:lpstr>Conclusió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mart Slides</dc:title>
  <dc:creator>Afonso de Paula Pinheiro Rocha</dc:creator>
  <cp:lastModifiedBy>Afonso de Paula Pinheiro Rocha</cp:lastModifiedBy>
  <cp:revision>34</cp:revision>
  <dcterms:modified xsi:type="dcterms:W3CDTF">2023-10-09T01:43:48Z</dcterms:modified>
</cp:coreProperties>
</file>